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29"/>
  </p:notesMasterIdLst>
  <p:handoutMasterIdLst>
    <p:handoutMasterId r:id="rId30"/>
  </p:handoutMasterIdLst>
  <p:sldIdLst>
    <p:sldId id="256" r:id="rId2"/>
    <p:sldId id="282" r:id="rId3"/>
    <p:sldId id="263" r:id="rId4"/>
    <p:sldId id="271" r:id="rId5"/>
    <p:sldId id="292" r:id="rId6"/>
    <p:sldId id="273" r:id="rId7"/>
    <p:sldId id="264" r:id="rId8"/>
    <p:sldId id="274" r:id="rId9"/>
    <p:sldId id="265" r:id="rId10"/>
    <p:sldId id="279" r:id="rId11"/>
    <p:sldId id="277" r:id="rId12"/>
    <p:sldId id="266" r:id="rId13"/>
    <p:sldId id="280" r:id="rId14"/>
    <p:sldId id="267" r:id="rId15"/>
    <p:sldId id="297" r:id="rId16"/>
    <p:sldId id="290" r:id="rId17"/>
    <p:sldId id="296" r:id="rId18"/>
    <p:sldId id="298" r:id="rId19"/>
    <p:sldId id="288" r:id="rId20"/>
    <p:sldId id="295" r:id="rId21"/>
    <p:sldId id="268" r:id="rId22"/>
    <p:sldId id="281" r:id="rId23"/>
    <p:sldId id="269" r:id="rId24"/>
    <p:sldId id="287" r:id="rId25"/>
    <p:sldId id="283" r:id="rId26"/>
    <p:sldId id="284" r:id="rId27"/>
    <p:sldId id="258" r:id="rId28"/>
  </p:sldIdLst>
  <p:sldSz cx="9144000" cy="5143500" type="screen16x9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3741" autoAdjust="0"/>
  </p:normalViewPr>
  <p:slideViewPr>
    <p:cSldViewPr>
      <p:cViewPr varScale="1">
        <p:scale>
          <a:sx n="106" d="100"/>
          <a:sy n="106" d="100"/>
        </p:scale>
        <p:origin x="1662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48" d="100"/>
          <a:sy n="148" d="100"/>
        </p:scale>
        <p:origin x="2514" y="-3204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CH" dirty="0"/>
              <a:t>Testresult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41E-4687-B970-10D990A339F1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F41E-4687-B970-10D990A339F1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41E-4687-B970-10D990A339F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Bestanden</c:v>
                </c:pt>
                <c:pt idx="1">
                  <c:v>Bestanden mit Fehlerkorrektur</c:v>
                </c:pt>
                <c:pt idx="2">
                  <c:v>Fehlgeschlagen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27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1E-4687-B970-10D990A339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017686" y="9277548"/>
            <a:ext cx="619833" cy="40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r.›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AddNotifier#2"/>
          <p:cNvSpPr txBox="1">
            <a:spLocks noChangeArrowheads="1"/>
          </p:cNvSpPr>
          <p:nvPr/>
        </p:nvSpPr>
        <p:spPr bwMode="auto">
          <a:xfrm>
            <a:off x="227309" y="9290537"/>
            <a:ext cx="5872467" cy="43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Bull, Canopy, equensWorldline, Unify, Worldline and Zero Email are registered trademarks of the Atos group. November 2017. © 2017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5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774" y="195189"/>
            <a:ext cx="1344735" cy="48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9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017686" y="9277548"/>
            <a:ext cx="619833" cy="40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r.›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AddNotifier#3"/>
          <p:cNvSpPr txBox="1">
            <a:spLocks noChangeArrowheads="1"/>
          </p:cNvSpPr>
          <p:nvPr/>
        </p:nvSpPr>
        <p:spPr bwMode="auto">
          <a:xfrm>
            <a:off x="227309" y="9290537"/>
            <a:ext cx="5872467" cy="43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Atos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Atos logo, Atos Codex, Atos Consulting, Atos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Bull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anop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equensWorldlin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nif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Zero Email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r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registered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rademarks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Atos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group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. November 2017. © 2017 Atos.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onfidential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nformation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wn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Atos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o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us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th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recipient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nl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. This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ocument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r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n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art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it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may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not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e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reproduc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opi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irculat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/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r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istribut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nor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quoted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ithout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rior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written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pproval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5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from</a:t>
            </a:r>
            <a:r>
              <a:rPr lang="de-DE" sz="500" dirty="0">
                <a:latin typeface="Verdana" pitchFamily="34" charset="0"/>
                <a:ea typeface="Verdana" pitchFamily="34" charset="0"/>
                <a:cs typeface="Verdana" pitchFamily="34" charset="0"/>
              </a:rPr>
              <a:t> Atos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774" y="143399"/>
            <a:ext cx="1344735" cy="48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2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56347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3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896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6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911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7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4210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8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6386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9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878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2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0035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4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4301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6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408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7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407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239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566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4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6739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5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3512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6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278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8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668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0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250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de-DE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1</a:t>
            </a:fld>
            <a:endParaRPr lang="de-DE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451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5.jp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8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Tit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879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Sub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17612" y="3723878"/>
            <a:ext cx="10791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1.04.2018</a:t>
            </a:r>
            <a:endParaRPr lang="nl-NL" sz="1200" b="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4296924" y="4652161"/>
            <a:ext cx="5501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</a:t>
            </a:r>
            <a:endParaRPr lang="en-US" sz="800" b="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13480" y="2307166"/>
            <a:ext cx="88305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81" y="4372526"/>
            <a:ext cx="1334916" cy="4366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00" y="4737600"/>
            <a:ext cx="1635224" cy="8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033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60097"/>
            <a:ext cx="9186488" cy="202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176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4525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35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4525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35471"/>
            <a:ext cx="9204416" cy="204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72" y="1560265"/>
            <a:ext cx="9197784" cy="2022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25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4505"/>
            <a:ext cx="9186488" cy="205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3769"/>
            <a:ext cx="9186488" cy="205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60097"/>
            <a:ext cx="9186488" cy="202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58584"/>
            <a:ext cx="9186488" cy="202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35471"/>
            <a:ext cx="9204416" cy="204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6" y="1559341"/>
            <a:ext cx="9166852" cy="202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246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59509"/>
            <a:ext cx="9204416" cy="20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33769"/>
            <a:ext cx="9204416" cy="205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33939"/>
            <a:ext cx="9204416" cy="205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04048" y="1995686"/>
            <a:ext cx="403244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904" y="1550381"/>
            <a:ext cx="9204416" cy="204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8"/>
            <a:ext cx="4950000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nl-NL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34016" y="4208250"/>
            <a:ext cx="4914048" cy="6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700" kern="12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Bull, Canopy, equensWorldline, Unify, Worldline and Zero Email are registered trademarks of the Atos group. November 2017. © 2017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7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13480" y="2307166"/>
            <a:ext cx="88305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81" y="4372526"/>
            <a:ext cx="1334916" cy="43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2013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Basic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96923" y="288070"/>
            <a:ext cx="87480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 err="1"/>
              <a:t>Klik</a:t>
            </a:r>
            <a:r>
              <a:rPr lang="en-US" dirty="0"/>
              <a:t> om de </a:t>
            </a:r>
            <a:r>
              <a:rPr lang="en-US" dirty="0" err="1"/>
              <a:t>stij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</p:txBody>
      </p:sp>
      <p:sp>
        <p:nvSpPr>
          <p:cNvPr id="10" name="object 24"/>
          <p:cNvSpPr txBox="1">
            <a:spLocks noGrp="1"/>
          </p:cNvSpPr>
          <p:nvPr>
            <p:ph type="sldNum" sz="quarter" idx="4"/>
          </p:nvPr>
        </p:nvSpPr>
        <p:spPr>
          <a:xfrm>
            <a:off x="362648" y="4806739"/>
            <a:ext cx="335028" cy="1282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19012">
              <a:lnSpc>
                <a:spcPts val="999"/>
              </a:lnSpc>
            </a:pPr>
            <a:r>
              <a:rPr lang="en-US" sz="800">
                <a:cs typeface="Verdana"/>
              </a:rPr>
              <a:t>0</a:t>
            </a:r>
            <a:fld id="{81D60167-4931-47E6-BA6A-407CBD079E47}" type="slidenum">
              <a:rPr lang="en-US" sz="800" smtClean="0">
                <a:cs typeface="Verdana"/>
              </a:rPr>
              <a:pPr marL="19012">
                <a:lnSpc>
                  <a:spcPts val="999"/>
                </a:lnSpc>
              </a:pPr>
              <a:t>‹Nr.›</a:t>
            </a:fld>
            <a:endParaRPr lang="en-US" sz="800" dirty="0"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23034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0300" y="1150978"/>
            <a:ext cx="874800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1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115" y="4794219"/>
            <a:ext cx="624844" cy="204374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26874" y="4625878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329209" y="944932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07829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2nd top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843558"/>
            <a:ext cx="8748000" cy="37236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1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26874" y="4625878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115" y="4794219"/>
            <a:ext cx="624844" cy="204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27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52" y="1534505"/>
            <a:ext cx="9192464" cy="205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012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3939"/>
            <a:ext cx="9180512" cy="205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26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59341"/>
            <a:ext cx="9180512" cy="202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602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58584"/>
            <a:ext cx="9180512" cy="202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81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76" y="1534525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631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1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0" name="AddCustomFooter#1"/>
          <p:cNvSpPr txBox="1"/>
          <p:nvPr userDrawn="1"/>
        </p:nvSpPr>
        <p:spPr>
          <a:xfrm>
            <a:off x="236700" y="4729862"/>
            <a:ext cx="3217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aseline="0">
                <a:latin typeface="Verdana" pitchFamily="34" charset="0"/>
                <a:ea typeface="Verdana" pitchFamily="34" charset="0"/>
                <a:cs typeface="Verdana" pitchFamily="34" charset="0"/>
              </a:rPr>
              <a:t>       | 11.04.2018 | Pascal Honegger | © Atos </a:t>
            </a:r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16488" y="123478"/>
            <a:ext cx="874800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1998182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6" r:id="rId2"/>
    <p:sldLayoutId id="2147483653" r:id="rId3"/>
    <p:sldLayoutId id="2147483654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55" r:id="rId24"/>
    <p:sldLayoutId id="2147483676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70000" indent="-270000" algn="l" defTabSz="91440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540000" indent="-2700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1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08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hey-im-in.azurewebsites.net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PA Prä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Hey, </a:t>
            </a:r>
            <a:r>
              <a:rPr lang="de-DE" dirty="0" err="1"/>
              <a:t>I‘m</a:t>
            </a:r>
            <a:r>
              <a:rPr lang="de-DE" dirty="0"/>
              <a:t> in</a:t>
            </a:r>
          </a:p>
        </p:txBody>
      </p:sp>
    </p:spTree>
    <p:extLst>
      <p:ext uri="{BB962C8B-B14F-4D97-AF65-F5344CB8AC3E}">
        <p14:creationId xmlns:p14="http://schemas.microsoft.com/office/powerpoint/2010/main" val="25228460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6488" y="843558"/>
            <a:ext cx="5377380" cy="3723613"/>
          </a:xfrm>
        </p:spPr>
        <p:txBody>
          <a:bodyPr/>
          <a:lstStyle/>
          <a:p>
            <a:pPr marL="0" indent="0">
              <a:buNone/>
            </a:pPr>
            <a:r>
              <a:rPr lang="de-CH" dirty="0" err="1"/>
              <a:t>Use</a:t>
            </a:r>
            <a:r>
              <a:rPr lang="de-CH" dirty="0"/>
              <a:t>-Cases</a:t>
            </a:r>
          </a:p>
          <a:p>
            <a:r>
              <a:rPr lang="de-CH" dirty="0"/>
              <a:t>In drei Gruppen unterteilt</a:t>
            </a:r>
          </a:p>
          <a:p>
            <a:r>
              <a:rPr lang="de-CH" dirty="0"/>
              <a:t>Benutzer: 6 Use-Cases</a:t>
            </a:r>
          </a:p>
          <a:p>
            <a:r>
              <a:rPr lang="de-CH" dirty="0"/>
              <a:t>Teilnehmer: 5 Use-Cases</a:t>
            </a:r>
          </a:p>
          <a:p>
            <a:r>
              <a:rPr lang="de-CH" dirty="0"/>
              <a:t>Organisator: 8 Use-Cases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Testfälle</a:t>
            </a:r>
          </a:p>
          <a:p>
            <a:r>
              <a:rPr lang="de-CH" dirty="0"/>
              <a:t>Pro Use-Case mindestens ein Testfall</a:t>
            </a:r>
          </a:p>
          <a:p>
            <a:r>
              <a:rPr lang="de-CH" dirty="0"/>
              <a:t>Benutzer: 8 Testfälle</a:t>
            </a:r>
          </a:p>
          <a:p>
            <a:r>
              <a:rPr lang="de-CH" dirty="0"/>
              <a:t>Teilnehmer: 11 Testfälle</a:t>
            </a:r>
          </a:p>
          <a:p>
            <a:r>
              <a:rPr lang="de-CH" dirty="0"/>
              <a:t>Organisator: 10 Testfäll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Use</a:t>
            </a:r>
            <a:r>
              <a:rPr lang="de-CH" dirty="0"/>
              <a:t>-Cases &amp; Testfälle</a:t>
            </a:r>
          </a:p>
        </p:txBody>
      </p:sp>
      <p:pic>
        <p:nvPicPr>
          <p:cNvPr id="6" name="Grafik 5" descr="C:\Users\A610222\Source\Repos\HeyImIn\Dokumentation\PlantUMLs\UseCases_Relationen.png">
            <a:extLst>
              <a:ext uri="{FF2B5EF4-FFF2-40B4-BE49-F238E27FC236}">
                <a16:creationId xmlns:a16="http://schemas.microsoft.com/office/drawing/2014/main" id="{17E013BB-8809-4DA4-84FA-BC380311332A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827" y="1131590"/>
            <a:ext cx="3870661" cy="27363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74386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1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tenbank-Desig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240300" y="1150978"/>
            <a:ext cx="4767503" cy="3474900"/>
          </a:xfrm>
        </p:spPr>
        <p:txBody>
          <a:bodyPr/>
          <a:lstStyle/>
          <a:p>
            <a:r>
              <a:rPr lang="de-CH" dirty="0"/>
              <a:t>Code-First =&gt; C#-Klassen</a:t>
            </a:r>
          </a:p>
          <a:p>
            <a:r>
              <a:rPr lang="de-CH" dirty="0"/>
              <a:t>Kein SQL =&gt; DBMS-unabhängig</a:t>
            </a:r>
          </a:p>
          <a:p>
            <a:r>
              <a:rPr lang="de-CH" dirty="0"/>
              <a:t>Datenbank automatisch migrieren</a:t>
            </a:r>
          </a:p>
          <a:p>
            <a:r>
              <a:rPr lang="de-CH" dirty="0"/>
              <a:t>Explizites Löschen der Abhängigkeiten</a:t>
            </a:r>
          </a:p>
          <a:p>
            <a:pPr lvl="1"/>
            <a:r>
              <a:rPr lang="de-CH" dirty="0"/>
              <a:t>Notifikationen für gelöschte Elemente</a:t>
            </a:r>
          </a:p>
          <a:p>
            <a:r>
              <a:rPr lang="de-CH" dirty="0"/>
              <a:t>Primärschlüssel als GUID, falls per E-Mail versendet</a:t>
            </a:r>
          </a:p>
          <a:p>
            <a:pPr lvl="1"/>
            <a:r>
              <a:rPr lang="de-CH" dirty="0"/>
              <a:t>Beispiel:</a:t>
            </a:r>
            <a:br>
              <a:rPr lang="de-CH" dirty="0"/>
            </a:br>
            <a:r>
              <a:rPr lang="de-CH" sz="1300" i="1" dirty="0"/>
              <a:t>8CE75B20-FB3A-4CD8-ADCB-E9B7675C2D27</a:t>
            </a:r>
          </a:p>
          <a:p>
            <a:pPr lvl="1"/>
            <a:endParaRPr lang="de-CH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16EEBB7-9998-4FF3-998C-2026E298D7B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1779" y="1150978"/>
            <a:ext cx="3888227" cy="33649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94D1B1-F01E-4E67-A675-0B5C1C9380CC}"/>
              </a:ext>
            </a:extLst>
          </p:cNvPr>
          <p:cNvGrpSpPr>
            <a:grpSpLocks noChangeAspect="1"/>
          </p:cNvGrpSpPr>
          <p:nvPr/>
        </p:nvGrpSpPr>
        <p:grpSpPr>
          <a:xfrm>
            <a:off x="6267904" y="1014909"/>
            <a:ext cx="1332000" cy="3563789"/>
            <a:chOff x="6171796" y="706695"/>
            <a:chExt cx="1454370" cy="3891192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CE88D28-6665-4D2A-A478-A2531D90D3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17" t="2597" r="-105" b="75824"/>
            <a:stretch/>
          </p:blipFill>
          <p:spPr bwMode="auto">
            <a:xfrm>
              <a:off x="6171796" y="706695"/>
              <a:ext cx="1452276" cy="13346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6FA54EE9-DA8E-477C-B0A3-E7D4A38136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30" t="45544" r="5444" b="32478"/>
            <a:stretch/>
          </p:blipFill>
          <p:spPr bwMode="auto">
            <a:xfrm>
              <a:off x="6173890" y="2010463"/>
              <a:ext cx="1452276" cy="13346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06F924A7-3CF7-4F2C-A18C-BBD3EF6918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30" t="70594" r="5444" b="7429"/>
            <a:stretch/>
          </p:blipFill>
          <p:spPr bwMode="auto">
            <a:xfrm>
              <a:off x="6173890" y="3263215"/>
              <a:ext cx="1452276" cy="133467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83438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ntscheiden</a:t>
            </a:r>
          </a:p>
        </p:txBody>
      </p:sp>
    </p:spTree>
    <p:extLst>
      <p:ext uri="{BB962C8B-B14F-4D97-AF65-F5344CB8AC3E}">
        <p14:creationId xmlns:p14="http://schemas.microsoft.com/office/powerpoint/2010/main" val="439066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0300" y="1150978"/>
            <a:ext cx="8580172" cy="3474900"/>
          </a:xfrm>
        </p:spPr>
        <p:txBody>
          <a:bodyPr/>
          <a:lstStyle/>
          <a:p>
            <a:r>
              <a:rPr lang="de-CH" dirty="0"/>
              <a:t>Zeiten als UTC</a:t>
            </a:r>
          </a:p>
          <a:p>
            <a:pPr lvl="1"/>
            <a:r>
              <a:rPr lang="de-CH" dirty="0"/>
              <a:t>Während Entwicklung nur eine Zeitzone</a:t>
            </a:r>
          </a:p>
          <a:p>
            <a:pPr lvl="1"/>
            <a:r>
              <a:rPr lang="de-CH" dirty="0"/>
              <a:t>Azure-Server andere Zeitzone</a:t>
            </a:r>
          </a:p>
          <a:p>
            <a:pPr lvl="1"/>
            <a:r>
              <a:rPr lang="de-CH" dirty="0"/>
              <a:t>Zeitumstellung</a:t>
            </a:r>
          </a:p>
          <a:p>
            <a:r>
              <a:rPr lang="de-CH" dirty="0"/>
              <a:t>Authentifikation</a:t>
            </a:r>
          </a:p>
          <a:p>
            <a:pPr lvl="1"/>
            <a:r>
              <a:rPr lang="de-CH" dirty="0"/>
              <a:t>Passwort bei jeder Anfrage</a:t>
            </a:r>
          </a:p>
          <a:p>
            <a:pPr lvl="1"/>
            <a:r>
              <a:rPr lang="de-CH" dirty="0"/>
              <a:t>Standardisierte Protokolle wie </a:t>
            </a:r>
            <a:r>
              <a:rPr lang="de-CH" dirty="0" err="1"/>
              <a:t>OAuth</a:t>
            </a:r>
            <a:endParaRPr lang="de-CH" dirty="0"/>
          </a:p>
          <a:p>
            <a:pPr lvl="1"/>
            <a:r>
              <a:rPr lang="de-CH" dirty="0"/>
              <a:t>Eigene Sessions analog zu anderen Projek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3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ntscheidungen</a:t>
            </a:r>
          </a:p>
        </p:txBody>
      </p:sp>
    </p:spTree>
    <p:extLst>
      <p:ext uri="{BB962C8B-B14F-4D97-AF65-F5344CB8AC3E}">
        <p14:creationId xmlns:p14="http://schemas.microsoft.com/office/powerpoint/2010/main" val="1592632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lisieren</a:t>
            </a:r>
          </a:p>
        </p:txBody>
      </p:sp>
    </p:spTree>
    <p:extLst>
      <p:ext uri="{BB962C8B-B14F-4D97-AF65-F5344CB8AC3E}">
        <p14:creationId xmlns:p14="http://schemas.microsoft.com/office/powerpoint/2010/main" val="10967986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72C903-9D8F-494E-A2CB-658A88480E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Azure Ressourcen erstellen</a:t>
            </a:r>
          </a:p>
          <a:p>
            <a:pPr lvl="1"/>
            <a:r>
              <a:rPr lang="de-CH" dirty="0"/>
              <a:t>Web-App</a:t>
            </a:r>
          </a:p>
          <a:p>
            <a:pPr lvl="1"/>
            <a:r>
              <a:rPr lang="de-CH" dirty="0"/>
              <a:t>Datenbank</a:t>
            </a:r>
          </a:p>
          <a:p>
            <a:pPr lvl="1"/>
            <a:r>
              <a:rPr lang="de-CH" dirty="0" err="1"/>
              <a:t>SendGrid</a:t>
            </a:r>
            <a:r>
              <a:rPr lang="de-CH" dirty="0"/>
              <a:t> Account (E-Mail)</a:t>
            </a:r>
          </a:p>
          <a:p>
            <a:pPr lvl="1"/>
            <a:r>
              <a:rPr lang="de-CH" dirty="0"/>
              <a:t>Scheduler (Cron-Job)</a:t>
            </a:r>
          </a:p>
          <a:p>
            <a:r>
              <a:rPr lang="de-CH" dirty="0"/>
              <a:t>Einstellungen vornehmen</a:t>
            </a:r>
          </a:p>
          <a:p>
            <a:r>
              <a:rPr lang="de-CH" dirty="0"/>
              <a:t>Automatisches </a:t>
            </a:r>
            <a:r>
              <a:rPr lang="de-CH" dirty="0" err="1"/>
              <a:t>Deployment</a:t>
            </a:r>
            <a:r>
              <a:rPr lang="de-CH" dirty="0"/>
              <a:t> via GitHub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1D4AC0-5461-4ECC-A518-79E92F32D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5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BA4A729-3205-4A8E-8257-67B42F0C1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Deploymen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18985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FF13308-9CF7-4AC2-8673-207B8DEF9E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0300" y="1150978"/>
            <a:ext cx="8724188" cy="34749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CH" dirty="0"/>
              <a:t>Aufruf Website</a:t>
            </a:r>
          </a:p>
          <a:p>
            <a:pPr marL="612900" lvl="1" indent="-342900">
              <a:buFont typeface="+mj-lt"/>
              <a:buAutoNum type="alphaLcParenR"/>
            </a:pPr>
            <a:r>
              <a:rPr lang="de-CH" dirty="0"/>
              <a:t>…/</a:t>
            </a:r>
            <a:r>
              <a:rPr lang="de-CH" i="1" dirty="0" err="1"/>
              <a:t>website</a:t>
            </a:r>
            <a:r>
              <a:rPr lang="de-CH" i="1" dirty="0"/>
              <a:t>/</a:t>
            </a:r>
            <a:r>
              <a:rPr lang="de-CH" i="1" dirty="0" err="1"/>
              <a:t>details?authToken</a:t>
            </a:r>
            <a:r>
              <a:rPr lang="de-CH" i="1" dirty="0"/>
              <a:t>=</a:t>
            </a:r>
            <a:r>
              <a:rPr lang="de-CH" i="1" dirty="0">
                <a:solidFill>
                  <a:srgbClr val="00B0F0"/>
                </a:solidFill>
              </a:rPr>
              <a:t>{</a:t>
            </a:r>
            <a:r>
              <a:rPr lang="de-CH" i="1" dirty="0" err="1">
                <a:solidFill>
                  <a:srgbClr val="00B0F0"/>
                </a:solidFill>
              </a:rPr>
              <a:t>AuthToken</a:t>
            </a:r>
            <a:r>
              <a:rPr lang="de-CH" i="1" dirty="0">
                <a:solidFill>
                  <a:srgbClr val="00B0F0"/>
                </a:solidFill>
              </a:rPr>
              <a:t>}</a:t>
            </a:r>
            <a:endParaRPr lang="de-CH" i="1" dirty="0"/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Angular </a:t>
            </a:r>
            <a:r>
              <a:rPr lang="de-CH" dirty="0" err="1"/>
              <a:t>Guard</a:t>
            </a:r>
            <a:r>
              <a:rPr lang="de-CH" dirty="0"/>
              <a:t> überprüft Session</a:t>
            </a:r>
          </a:p>
          <a:p>
            <a:pPr marL="612900" lvl="1" indent="-342900">
              <a:buFont typeface="+mj-lt"/>
              <a:buAutoNum type="alphaLcParenR"/>
            </a:pPr>
            <a:r>
              <a:rPr lang="de-CH" dirty="0"/>
              <a:t>Session in URL? (</a:t>
            </a:r>
            <a:r>
              <a:rPr lang="de-CH" dirty="0">
                <a:solidFill>
                  <a:srgbClr val="00B0F0"/>
                </a:solidFill>
              </a:rPr>
              <a:t>{</a:t>
            </a:r>
            <a:r>
              <a:rPr lang="de-CH" i="1" dirty="0" err="1">
                <a:solidFill>
                  <a:srgbClr val="00B0F0"/>
                </a:solidFill>
              </a:rPr>
              <a:t>AuthToken</a:t>
            </a:r>
            <a:r>
              <a:rPr lang="de-CH" dirty="0">
                <a:solidFill>
                  <a:srgbClr val="00B0F0"/>
                </a:solidFill>
              </a:rPr>
              <a:t>}</a:t>
            </a:r>
            <a:r>
              <a:rPr lang="de-CH" dirty="0"/>
              <a:t>)</a:t>
            </a:r>
          </a:p>
          <a:p>
            <a:pPr marL="612900" lvl="1" indent="-342900">
              <a:buFont typeface="+mj-lt"/>
              <a:buAutoNum type="alphaLcParenR"/>
            </a:pPr>
            <a:r>
              <a:rPr lang="de-CH" dirty="0"/>
              <a:t>Session In-Memory?</a:t>
            </a:r>
          </a:p>
          <a:p>
            <a:pPr marL="612900" lvl="1" indent="-342900">
              <a:buFont typeface="+mj-lt"/>
              <a:buAutoNum type="alphaLcParenR"/>
            </a:pPr>
            <a:r>
              <a:rPr lang="de-CH" dirty="0"/>
              <a:t>Session im Browserspeicher?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Website startet Serveranfrage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ASP.NET </a:t>
            </a:r>
            <a:r>
              <a:rPr lang="de-CH" dirty="0" err="1"/>
              <a:t>Authorize</a:t>
            </a:r>
            <a:r>
              <a:rPr lang="de-CH" dirty="0"/>
              <a:t>-Attribut überprüft Anfrage</a:t>
            </a:r>
          </a:p>
          <a:p>
            <a:pPr marL="342900" indent="-342900">
              <a:buFont typeface="+mj-lt"/>
              <a:buAutoNum type="arabicPeriod"/>
            </a:pPr>
            <a:r>
              <a:rPr lang="de-CH" dirty="0"/>
              <a:t>Anfrage wird durch Controller verarbeite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979642C-7B06-4DF7-847A-863A93BEC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6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6466354-3682-4C76-BD59-02232D3E4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thentifizierung</a:t>
            </a:r>
          </a:p>
        </p:txBody>
      </p:sp>
    </p:spTree>
    <p:extLst>
      <p:ext uri="{BB962C8B-B14F-4D97-AF65-F5344CB8AC3E}">
        <p14:creationId xmlns:p14="http://schemas.microsoft.com/office/powerpoint/2010/main" val="339799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F2C4835-F935-4924-8513-874D877493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0300" y="1150978"/>
            <a:ext cx="8748000" cy="3474900"/>
          </a:xfrm>
        </p:spPr>
        <p:txBody>
          <a:bodyPr/>
          <a:lstStyle/>
          <a:p>
            <a:r>
              <a:rPr lang="de-CH" dirty="0"/>
              <a:t>Maschinenfreundliches Format</a:t>
            </a:r>
          </a:p>
          <a:p>
            <a:pPr marL="0" indent="0">
              <a:buNone/>
            </a:pPr>
            <a:endParaRPr lang="de-CH" dirty="0"/>
          </a:p>
          <a:p>
            <a:pPr marL="0" indent="0" defTabSz="1185863">
              <a:buNone/>
              <a:tabLst>
                <a:tab pos="538163" algn="l"/>
                <a:tab pos="1435100" algn="l"/>
                <a:tab pos="2238375" algn="l"/>
                <a:tab pos="4306888" algn="l"/>
                <a:tab pos="5203825" algn="l"/>
                <a:tab pos="6281738" algn="l"/>
              </a:tabLst>
            </a:pPr>
            <a:r>
              <a:rPr lang="de-CH" sz="1000" b="1" i="1" dirty="0"/>
              <a:t>ZEIT	[THREAD]	LEVEL	NAMESPACE.KLASSE	[BENUTZER | SESSION]	METHODE(): NACHRICHT</a:t>
            </a:r>
            <a:endParaRPr lang="de-CH" sz="1000" b="1" dirty="0"/>
          </a:p>
          <a:p>
            <a:pPr marL="0" indent="0" defTabSz="1185863">
              <a:buNone/>
              <a:tabLst>
                <a:tab pos="538163" algn="l"/>
                <a:tab pos="1435100" algn="l"/>
                <a:tab pos="2238375" algn="l"/>
                <a:tab pos="4306888" algn="l"/>
                <a:tab pos="5203825" algn="l"/>
                <a:tab pos="6281738" algn="l"/>
              </a:tabLst>
            </a:pPr>
            <a:r>
              <a:rPr lang="de-CH" sz="1000" i="1" dirty="0"/>
              <a:t>09:15	[1]	DEBUG	HeyImIn.WebServer.Class1	[3	| 4A0AF93A]	</a:t>
            </a:r>
            <a:r>
              <a:rPr lang="de-CH" sz="1000" i="1" dirty="0" err="1"/>
              <a:t>StuffAsync</a:t>
            </a:r>
            <a:r>
              <a:rPr lang="de-CH" sz="1000" i="1" dirty="0"/>
              <a:t>(): </a:t>
            </a:r>
            <a:r>
              <a:rPr lang="de-CH" sz="1000" i="1" dirty="0" err="1"/>
              <a:t>Started</a:t>
            </a:r>
            <a:r>
              <a:rPr lang="de-CH" sz="1000" i="1" dirty="0"/>
              <a:t> </a:t>
            </a:r>
            <a:r>
              <a:rPr lang="de-CH" sz="1000" i="1" dirty="0" err="1"/>
              <a:t>operation</a:t>
            </a:r>
            <a:endParaRPr lang="de-CH" sz="1000" dirty="0"/>
          </a:p>
          <a:p>
            <a:pPr marL="0" indent="0" defTabSz="1185863">
              <a:buNone/>
              <a:tabLst>
                <a:tab pos="538163" algn="l"/>
                <a:tab pos="1435100" algn="l"/>
                <a:tab pos="2238375" algn="l"/>
                <a:tab pos="4306888" algn="l"/>
                <a:tab pos="5203825" algn="l"/>
                <a:tab pos="6281738" algn="l"/>
              </a:tabLst>
            </a:pPr>
            <a:r>
              <a:rPr lang="en-US" sz="1000" i="1" dirty="0"/>
              <a:t>09:16	[2]	INFO	HeyImIn.WebServer.Class2	[5	| B56CAD34]	Logout (): User was logged out</a:t>
            </a:r>
            <a:endParaRPr lang="de-CH" sz="1000" dirty="0"/>
          </a:p>
          <a:p>
            <a:pPr marL="0" indent="0" defTabSz="1185863">
              <a:buNone/>
              <a:tabLst>
                <a:tab pos="538163" algn="l"/>
                <a:tab pos="1435100" algn="l"/>
                <a:tab pos="2238375" algn="l"/>
                <a:tab pos="4306888" algn="l"/>
                <a:tab pos="5203825" algn="l"/>
                <a:tab pos="6281738" algn="l"/>
              </a:tabLst>
            </a:pPr>
            <a:r>
              <a:rPr lang="en-US" sz="1000" i="1" dirty="0"/>
              <a:t>09:18	[1]	DEBUG	HeyImIn.WebServer.Class1	[3	| 4A0AF93A]	</a:t>
            </a:r>
            <a:r>
              <a:rPr lang="en-US" sz="1000" i="1" dirty="0" err="1"/>
              <a:t>StuffAsync</a:t>
            </a:r>
            <a:r>
              <a:rPr lang="en-US" sz="1000" i="1" dirty="0"/>
              <a:t>(): Finished successfully</a:t>
            </a:r>
            <a:endParaRPr lang="de-CH" sz="1000" dirty="0"/>
          </a:p>
          <a:p>
            <a:endParaRPr lang="de-CH" dirty="0"/>
          </a:p>
          <a:p>
            <a:r>
              <a:rPr lang="de-CH" dirty="0"/>
              <a:t>Audit-Meldungen separat &amp; im All-Lo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7A24DA2-D4D9-4AEC-9284-82852744BB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7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ED002FC-702D-4192-833C-5BDC17EBE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ogging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9F07998F-AA02-4405-9397-6FE9A10594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310010"/>
              </p:ext>
            </p:extLst>
          </p:nvPr>
        </p:nvGraphicFramePr>
        <p:xfrm>
          <a:off x="240300" y="3147814"/>
          <a:ext cx="8748408" cy="12241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5713">
                  <a:extLst>
                    <a:ext uri="{9D8B030D-6E8A-4147-A177-3AD203B41FA5}">
                      <a16:colId xmlns:a16="http://schemas.microsoft.com/office/drawing/2014/main" val="4263707729"/>
                    </a:ext>
                  </a:extLst>
                </a:gridCol>
                <a:gridCol w="2509923">
                  <a:extLst>
                    <a:ext uri="{9D8B030D-6E8A-4147-A177-3AD203B41FA5}">
                      <a16:colId xmlns:a16="http://schemas.microsoft.com/office/drawing/2014/main" val="1673384251"/>
                    </a:ext>
                  </a:extLst>
                </a:gridCol>
                <a:gridCol w="4992772">
                  <a:extLst>
                    <a:ext uri="{9D8B030D-6E8A-4147-A177-3AD203B41FA5}">
                      <a16:colId xmlns:a16="http://schemas.microsoft.com/office/drawing/2014/main" val="4099846113"/>
                    </a:ext>
                  </a:extLst>
                </a:gridCol>
              </a:tblGrid>
              <a:tr h="3497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050" dirty="0">
                          <a:effectLst/>
                        </a:rPr>
                        <a:t>Log</a:t>
                      </a:r>
                      <a:endParaRPr lang="de-CH" sz="105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050" dirty="0">
                          <a:effectLst/>
                        </a:rPr>
                        <a:t>Lebensdauer</a:t>
                      </a:r>
                      <a:endParaRPr lang="de-CH" sz="105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050" dirty="0">
                          <a:effectLst/>
                        </a:rPr>
                        <a:t>Inhalt</a:t>
                      </a:r>
                      <a:endParaRPr lang="de-CH" sz="105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92501025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050" dirty="0">
                          <a:effectLst/>
                        </a:rPr>
                        <a:t>All.log</a:t>
                      </a:r>
                      <a:endParaRPr lang="de-CH" sz="105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ünf Dateien à 20MB</a:t>
                      </a:r>
                      <a:endParaRPr lang="de-CH" sz="1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100" dirty="0">
                          <a:effectLst/>
                        </a:rPr>
                        <a:t>Alle Einträg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3930798"/>
                  </a:ext>
                </a:extLst>
              </a:tr>
              <a:tr h="6120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050" dirty="0">
                          <a:effectLst/>
                        </a:rPr>
                        <a:t>Audit.log</a:t>
                      </a:r>
                      <a:endParaRPr lang="de-CH" sz="105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Sechs Monate</a:t>
                      </a:r>
                      <a:endParaRPr lang="de-CH" sz="1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100" dirty="0">
                          <a:effectLst/>
                        </a:rPr>
                        <a:t>Benutzer erstellen / löschen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100" dirty="0">
                          <a:effectLst/>
                        </a:rPr>
                        <a:t>Benutzer loggt sich ein / loggt sich aus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100" dirty="0">
                          <a:effectLst/>
                        </a:rPr>
                        <a:t>Änderungen an Terminen und Zusagen</a:t>
                      </a:r>
                      <a:endParaRPr lang="de-CH" sz="11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23967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2186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D23F3A5-C843-47C2-93DD-F354D8A5C7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Benutzereingaben einschränken und überprüfen</a:t>
            </a:r>
          </a:p>
          <a:p>
            <a:r>
              <a:rPr lang="de-CH" dirty="0"/>
              <a:t>Zu erwartende Fehler explizit vorbeugen</a:t>
            </a:r>
          </a:p>
          <a:p>
            <a:r>
              <a:rPr lang="de-CH" dirty="0"/>
              <a:t>Datenbankanbindungen mit </a:t>
            </a:r>
            <a:r>
              <a:rPr lang="de-CH" dirty="0" err="1">
                <a:solidFill>
                  <a:schemeClr val="tx2"/>
                </a:solidFill>
              </a:rPr>
              <a:t>using</a:t>
            </a:r>
            <a:r>
              <a:rPr lang="de-CH" dirty="0"/>
              <a:t> =&gt; Aufräumen sichergestellt</a:t>
            </a:r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Fehler grundsätzlich «unbehandelt» lassen</a:t>
            </a:r>
          </a:p>
          <a:p>
            <a:r>
              <a:rPr lang="de-CH" dirty="0"/>
              <a:t>Fehler durch </a:t>
            </a:r>
            <a:r>
              <a:rPr lang="de-CH" dirty="0" err="1"/>
              <a:t>ExceptionLogger</a:t>
            </a:r>
            <a:r>
              <a:rPr lang="de-CH" dirty="0"/>
              <a:t> speichern</a:t>
            </a:r>
          </a:p>
          <a:p>
            <a:r>
              <a:rPr lang="de-CH" dirty="0"/>
              <a:t>Generischer «Etwas ist schiefgelaufen» Dialog</a:t>
            </a:r>
          </a:p>
          <a:p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7B56C42-585A-4C74-9568-9E02A77E68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8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A05E10B-92CC-49DB-8BDF-D93186E17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rror Handling</a:t>
            </a:r>
          </a:p>
        </p:txBody>
      </p:sp>
    </p:spTree>
    <p:extLst>
      <p:ext uri="{BB962C8B-B14F-4D97-AF65-F5344CB8AC3E}">
        <p14:creationId xmlns:p14="http://schemas.microsoft.com/office/powerpoint/2010/main" val="6805363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0300" y="1150978"/>
            <a:ext cx="8724188" cy="3474900"/>
          </a:xfrm>
        </p:spPr>
        <p:txBody>
          <a:bodyPr/>
          <a:lstStyle/>
          <a:p>
            <a:r>
              <a:rPr lang="de-CH" dirty="0"/>
              <a:t>ASP.NET </a:t>
            </a:r>
            <a:r>
              <a:rPr lang="de-CH" dirty="0" err="1"/>
              <a:t>WebAPI</a:t>
            </a:r>
            <a:r>
              <a:rPr lang="de-CH" dirty="0"/>
              <a:t> 2</a:t>
            </a:r>
          </a:p>
          <a:p>
            <a:r>
              <a:rPr lang="de-CH" dirty="0"/>
              <a:t>Leserlicher und testbarer Code durch Ok() und </a:t>
            </a:r>
            <a:r>
              <a:rPr lang="de-CH" dirty="0" err="1"/>
              <a:t>NotFound</a:t>
            </a:r>
            <a:r>
              <a:rPr lang="de-CH" dirty="0"/>
              <a:t>()</a:t>
            </a:r>
          </a:p>
          <a:p>
            <a:r>
              <a:rPr lang="de-CH" dirty="0"/>
              <a:t>Automatische JSON-Serialisierung</a:t>
            </a:r>
          </a:p>
          <a:p>
            <a:pPr lvl="1"/>
            <a:r>
              <a:rPr lang="de-CH" dirty="0"/>
              <a:t>Nahtloser Übergang zwischen Frontend &amp; Backend</a:t>
            </a:r>
          </a:p>
          <a:p>
            <a:r>
              <a:rPr lang="de-CH" dirty="0"/>
              <a:t>Effiziente Datenbank-Operationen dank </a:t>
            </a:r>
            <a:r>
              <a:rPr lang="de-CH" dirty="0" err="1"/>
              <a:t>Async-Await</a:t>
            </a:r>
            <a:endParaRPr lang="de-CH" dirty="0"/>
          </a:p>
          <a:p>
            <a:pPr lvl="1"/>
            <a:r>
              <a:rPr lang="de-CH" dirty="0"/>
              <a:t>Ohne: 50 Anfragen 50 Threads</a:t>
            </a:r>
          </a:p>
          <a:p>
            <a:pPr lvl="1"/>
            <a:r>
              <a:rPr lang="de-CH" dirty="0"/>
              <a:t>Mit: 50 Anfragen 15 Thread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9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ckend-Schnittstelle</a:t>
            </a:r>
          </a:p>
        </p:txBody>
      </p:sp>
    </p:spTree>
    <p:extLst>
      <p:ext uri="{BB962C8B-B14F-4D97-AF65-F5344CB8AC3E}">
        <p14:creationId xmlns:p14="http://schemas.microsoft.com/office/powerpoint/2010/main" val="2331021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1"/>
            <a:ext cx="9142519" cy="51450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algn="ctr" eaLnBrk="1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0" name="Image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8" y="629147"/>
            <a:ext cx="9141619" cy="874907"/>
          </a:xfrm>
          <a:prstGeom prst="rect">
            <a:avLst/>
          </a:prstGeom>
        </p:spPr>
      </p:pic>
      <p:pic>
        <p:nvPicPr>
          <p:cNvPr id="21" name="Image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" y="1641494"/>
            <a:ext cx="9141619" cy="875691"/>
          </a:xfrm>
          <a:prstGeom prst="rect">
            <a:avLst/>
          </a:prstGeom>
        </p:spPr>
      </p:pic>
      <p:pic>
        <p:nvPicPr>
          <p:cNvPr id="22" name="Image 3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" y="2655071"/>
            <a:ext cx="9141619" cy="875691"/>
          </a:xfrm>
          <a:prstGeom prst="rect">
            <a:avLst/>
          </a:prstGeom>
        </p:spPr>
      </p:pic>
      <p:pic>
        <p:nvPicPr>
          <p:cNvPr id="23" name="Image 3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" y="3668036"/>
            <a:ext cx="9141619" cy="8756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496" y="234717"/>
            <a:ext cx="8748000" cy="276999"/>
          </a:xfrm>
        </p:spPr>
        <p:txBody>
          <a:bodyPr/>
          <a:lstStyle/>
          <a:p>
            <a:r>
              <a:rPr lang="en-US" sz="1800" dirty="0" err="1">
                <a:solidFill>
                  <a:schemeClr val="bg1"/>
                </a:solidFill>
              </a:rPr>
              <a:t>Zusammenfassung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10949" y="4806739"/>
            <a:ext cx="84960" cy="128240"/>
          </a:xfrm>
        </p:spPr>
        <p:txBody>
          <a:bodyPr/>
          <a:lstStyle/>
          <a:p>
            <a:pPr marL="19012">
              <a:lnSpc>
                <a:spcPts val="999"/>
              </a:lnSpc>
            </a:pPr>
            <a:fld id="{81D60167-4931-47E6-BA6A-407CBD079E47}" type="slidenum">
              <a:rPr lang="en-US" sz="800">
                <a:solidFill>
                  <a:schemeClr val="bg1"/>
                </a:solidFill>
                <a:cs typeface="Verdana"/>
              </a:rPr>
              <a:pPr marL="19012">
                <a:lnSpc>
                  <a:spcPts val="999"/>
                </a:lnSpc>
              </a:pPr>
              <a:t>2</a:t>
            </a:fld>
            <a:endParaRPr lang="en-US" sz="800" dirty="0">
              <a:solidFill>
                <a:schemeClr val="bg1"/>
              </a:solidFill>
              <a:cs typeface="Verdana"/>
            </a:endParaRPr>
          </a:p>
        </p:txBody>
      </p:sp>
      <p:sp>
        <p:nvSpPr>
          <p:cNvPr id="7" name="object 2"/>
          <p:cNvSpPr/>
          <p:nvPr/>
        </p:nvSpPr>
        <p:spPr>
          <a:xfrm>
            <a:off x="2" y="4873884"/>
            <a:ext cx="218643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300" dirty="0"/>
          </a:p>
        </p:txBody>
      </p:sp>
      <p:sp>
        <p:nvSpPr>
          <p:cNvPr id="8" name="object 12"/>
          <p:cNvSpPr/>
          <p:nvPr/>
        </p:nvSpPr>
        <p:spPr>
          <a:xfrm>
            <a:off x="2" y="388605"/>
            <a:ext cx="218643" cy="0"/>
          </a:xfrm>
          <a:custGeom>
            <a:avLst/>
            <a:gdLst/>
            <a:ahLst/>
            <a:cxnLst/>
            <a:rect l="l" t="t" r="r" b="b"/>
            <a:pathLst>
              <a:path w="293370">
                <a:moveTo>
                  <a:pt x="0" y="0"/>
                </a:moveTo>
                <a:lnTo>
                  <a:pt x="293268" y="0"/>
                </a:lnTo>
              </a:path>
            </a:pathLst>
          </a:custGeom>
          <a:ln w="127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300" dirty="0"/>
          </a:p>
        </p:txBody>
      </p:sp>
      <p:sp>
        <p:nvSpPr>
          <p:cNvPr id="10" name="object 4"/>
          <p:cNvSpPr txBox="1">
            <a:spLocks/>
          </p:cNvSpPr>
          <p:nvPr/>
        </p:nvSpPr>
        <p:spPr>
          <a:xfrm>
            <a:off x="1853178" y="689675"/>
            <a:ext cx="2714412" cy="5401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627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R="3809">
              <a:lnSpc>
                <a:spcPct val="90000"/>
              </a:lnSpc>
            </a:pPr>
            <a:endParaRPr lang="en-US" sz="1300" b="0" dirty="0">
              <a:solidFill>
                <a:srgbClr val="FFFFFF"/>
              </a:solidFill>
              <a:latin typeface="Verdana"/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b="0" dirty="0">
              <a:solidFill>
                <a:srgbClr val="FFFFFF"/>
              </a:solidFill>
              <a:latin typeface="Verdana"/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b="0" dirty="0" err="1">
                <a:solidFill>
                  <a:srgbClr val="FFFFFF"/>
                </a:solidFill>
                <a:latin typeface="Verdana"/>
                <a:cs typeface="Verdana"/>
              </a:rPr>
              <a:t>Aufgabenstellung</a:t>
            </a:r>
            <a:r>
              <a:rPr lang="en-US" sz="1300" b="0" dirty="0">
                <a:solidFill>
                  <a:srgbClr val="FFFFFF"/>
                </a:solidFill>
                <a:latin typeface="Verdana"/>
                <a:cs typeface="Verdana"/>
              </a:rPr>
              <a:t> und </a:t>
            </a:r>
            <a:r>
              <a:rPr lang="en-US" sz="1300" b="0" dirty="0" err="1">
                <a:solidFill>
                  <a:srgbClr val="FFFFFF"/>
                </a:solidFill>
                <a:latin typeface="Verdana"/>
                <a:cs typeface="Verdana"/>
              </a:rPr>
              <a:t>Ablauf</a:t>
            </a:r>
            <a:endParaRPr lang="en-US" sz="1300" b="0" dirty="0">
              <a:latin typeface="Verdana"/>
              <a:cs typeface="Verdana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5540432" y="1701820"/>
            <a:ext cx="2703977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Entscheid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3" name="object 14"/>
          <p:cNvSpPr txBox="1"/>
          <p:nvPr/>
        </p:nvSpPr>
        <p:spPr>
          <a:xfrm>
            <a:off x="5535704" y="2715600"/>
            <a:ext cx="3284769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Kontrollier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4" name="object 15"/>
          <p:cNvSpPr txBox="1"/>
          <p:nvPr/>
        </p:nvSpPr>
        <p:spPr>
          <a:xfrm>
            <a:off x="1853178" y="3728564"/>
            <a:ext cx="2214767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Auswert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5" name="object 16"/>
          <p:cNvSpPr txBox="1"/>
          <p:nvPr/>
        </p:nvSpPr>
        <p:spPr>
          <a:xfrm>
            <a:off x="5537045" y="3728564"/>
            <a:ext cx="2851379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Einsatz</a:t>
            </a:r>
            <a:r>
              <a:rPr lang="en-US" sz="1300" dirty="0">
                <a:solidFill>
                  <a:srgbClr val="FFFFFF"/>
                </a:solidFill>
                <a:cs typeface="Verdana"/>
              </a:rPr>
              <a:t> </a:t>
            </a:r>
            <a:r>
              <a:rPr lang="en-US" sz="1300" dirty="0" err="1">
                <a:solidFill>
                  <a:srgbClr val="FFFFFF"/>
                </a:solidFill>
                <a:cs typeface="Verdana"/>
              </a:rPr>
              <a:t>im</a:t>
            </a:r>
            <a:r>
              <a:rPr lang="en-US" sz="1300" dirty="0">
                <a:solidFill>
                  <a:srgbClr val="FFFFFF"/>
                </a:solidFill>
                <a:cs typeface="Verdana"/>
              </a:rPr>
              <a:t> </a:t>
            </a:r>
            <a:r>
              <a:rPr lang="en-US" sz="1300" dirty="0" err="1">
                <a:solidFill>
                  <a:srgbClr val="FFFFFF"/>
                </a:solidFill>
                <a:cs typeface="Verdana"/>
              </a:rPr>
              <a:t>Betrieb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6" name="object 17"/>
          <p:cNvSpPr txBox="1"/>
          <p:nvPr/>
        </p:nvSpPr>
        <p:spPr>
          <a:xfrm>
            <a:off x="1853178" y="1701820"/>
            <a:ext cx="2720525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Plan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7" name="object 21"/>
          <p:cNvSpPr txBox="1"/>
          <p:nvPr/>
        </p:nvSpPr>
        <p:spPr>
          <a:xfrm>
            <a:off x="5535704" y="689676"/>
            <a:ext cx="2564689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Informier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1853177" y="2735625"/>
            <a:ext cx="2708705" cy="5401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endParaRPr lang="en-US" sz="1300" dirty="0">
              <a:solidFill>
                <a:srgbClr val="FFFFFF"/>
              </a:solidFill>
              <a:cs typeface="Verdana"/>
            </a:endParaRPr>
          </a:p>
          <a:p>
            <a:pPr marR="3809">
              <a:lnSpc>
                <a:spcPct val="90000"/>
              </a:lnSpc>
            </a:pPr>
            <a:r>
              <a:rPr lang="en-US" sz="1300" dirty="0" err="1">
                <a:solidFill>
                  <a:srgbClr val="FFFFFF"/>
                </a:solidFill>
                <a:cs typeface="Verdana"/>
              </a:rPr>
              <a:t>Realisieren</a:t>
            </a:r>
            <a:endParaRPr lang="en-US" sz="1300" dirty="0">
              <a:solidFill>
                <a:srgbClr val="FFFFFF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817816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7C7B152-3D04-4AF2-ADF2-4C9D10D2A3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Atos-Farbschema als Material Design </a:t>
            </a:r>
            <a:r>
              <a:rPr lang="de-CH" dirty="0" err="1"/>
              <a:t>Theme</a:t>
            </a:r>
            <a:r>
              <a:rPr lang="de-CH" dirty="0"/>
              <a:t> hinterlegt</a:t>
            </a:r>
          </a:p>
          <a:p>
            <a:r>
              <a:rPr lang="de-CH" dirty="0"/>
              <a:t>Gemeinsame Komponenten wo sinnvoll</a:t>
            </a:r>
          </a:p>
          <a:p>
            <a:pPr lvl="1"/>
            <a:r>
              <a:rPr lang="de-CH" dirty="0"/>
              <a:t>Globales Design</a:t>
            </a:r>
          </a:p>
          <a:p>
            <a:pPr lvl="1"/>
            <a:r>
              <a:rPr lang="de-CH" dirty="0"/>
              <a:t>Knöpfe zur Verwaltung der Zusage</a:t>
            </a:r>
          </a:p>
          <a:p>
            <a:pPr lvl="1"/>
            <a:r>
              <a:rPr lang="de-CH" dirty="0"/>
              <a:t>Event-Details</a:t>
            </a:r>
          </a:p>
          <a:p>
            <a:pPr lvl="1"/>
            <a:r>
              <a:rPr lang="de-CH" dirty="0"/>
              <a:t>«Sind Sie sicher?»-Dialog</a:t>
            </a:r>
          </a:p>
          <a:p>
            <a:r>
              <a:rPr lang="de-CH" dirty="0"/>
              <a:t>Responsive-Design dank </a:t>
            </a:r>
            <a:r>
              <a:rPr lang="de-CH" dirty="0" err="1"/>
              <a:t>FxFlex</a:t>
            </a:r>
            <a:endParaRPr lang="de-CH" dirty="0"/>
          </a:p>
          <a:p>
            <a:pPr lvl="1"/>
            <a:r>
              <a:rPr lang="de-CH" dirty="0" err="1"/>
              <a:t>Flexbox</a:t>
            </a:r>
            <a:r>
              <a:rPr lang="de-CH" dirty="0"/>
              <a:t> Layout</a:t>
            </a:r>
          </a:p>
          <a:p>
            <a:pPr lvl="1"/>
            <a:r>
              <a:rPr lang="de-CH" dirty="0"/>
              <a:t>Weniger Abstände bei kleinerem Bildschir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8FFE5B5-327A-4E33-A16F-ADD16C9993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0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17DD6BD-A15F-4C68-8CC1-3FFB7A51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ontend Darstellung	</a:t>
            </a:r>
          </a:p>
        </p:txBody>
      </p:sp>
    </p:spTree>
    <p:extLst>
      <p:ext uri="{BB962C8B-B14F-4D97-AF65-F5344CB8AC3E}">
        <p14:creationId xmlns:p14="http://schemas.microsoft.com/office/powerpoint/2010/main" val="38916758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ontrollieren</a:t>
            </a:r>
          </a:p>
        </p:txBody>
      </p:sp>
    </p:spTree>
    <p:extLst>
      <p:ext uri="{BB962C8B-B14F-4D97-AF65-F5344CB8AC3E}">
        <p14:creationId xmlns:p14="http://schemas.microsoft.com/office/powerpoint/2010/main" val="28817866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0300" y="1150978"/>
            <a:ext cx="5483828" cy="3474900"/>
          </a:xfrm>
        </p:spPr>
        <p:txBody>
          <a:bodyPr/>
          <a:lstStyle/>
          <a:p>
            <a:r>
              <a:rPr lang="de-CH" dirty="0"/>
              <a:t>Die 29 geplanten Tests bestanden</a:t>
            </a:r>
          </a:p>
          <a:p>
            <a:r>
              <a:rPr lang="de-CH" dirty="0"/>
              <a:t>Weitere Explorative Tests bestanden</a:t>
            </a:r>
          </a:p>
          <a:p>
            <a:r>
              <a:rPr lang="de-CH" dirty="0"/>
              <a:t>7+ Fehler korrigiert</a:t>
            </a:r>
          </a:p>
          <a:p>
            <a:r>
              <a:rPr lang="de-CH" dirty="0"/>
              <a:t>Browserkompatibilität erfüllt</a:t>
            </a:r>
          </a:p>
          <a:p>
            <a:pPr lvl="1"/>
            <a:r>
              <a:rPr lang="de-CH" dirty="0"/>
              <a:t>Chrome &amp; IE komplett getestet</a:t>
            </a:r>
          </a:p>
          <a:p>
            <a:pPr lvl="1"/>
            <a:r>
              <a:rPr lang="de-CH" dirty="0"/>
              <a:t>Firefox &amp; Safari grob getestet</a:t>
            </a:r>
          </a:p>
          <a:p>
            <a:r>
              <a:rPr lang="de-CH" dirty="0"/>
              <a:t>Positives Testfazi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2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ests</a:t>
            </a:r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2772440925"/>
              </p:ext>
            </p:extLst>
          </p:nvPr>
        </p:nvGraphicFramePr>
        <p:xfrm>
          <a:off x="5292080" y="1059582"/>
          <a:ext cx="3672408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54759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swerten</a:t>
            </a:r>
          </a:p>
        </p:txBody>
      </p:sp>
    </p:spTree>
    <p:extLst>
      <p:ext uri="{BB962C8B-B14F-4D97-AF65-F5344CB8AC3E}">
        <p14:creationId xmlns:p14="http://schemas.microsoft.com/office/powerpoint/2010/main" val="17490168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Zufrieden mit dem Projekt</a:t>
            </a:r>
          </a:p>
          <a:p>
            <a:r>
              <a:rPr lang="de-CH" dirty="0"/>
              <a:t>Erfahrungen für zukünftige Projekte</a:t>
            </a:r>
          </a:p>
          <a:p>
            <a:pPr lvl="1"/>
            <a:r>
              <a:rPr lang="de-CH" dirty="0"/>
              <a:t>Zeitzonen, Zeitverschiebung</a:t>
            </a:r>
          </a:p>
          <a:p>
            <a:pPr lvl="1"/>
            <a:r>
              <a:rPr lang="de-CH" dirty="0"/>
              <a:t>Formellen Aufwand nicht vernachlässigen</a:t>
            </a:r>
          </a:p>
          <a:p>
            <a:pPr lvl="1"/>
            <a:r>
              <a:rPr lang="de-CH" dirty="0"/>
              <a:t>OR-Mapping erleichtert das Leben meistens, aber nicht immer (Delete)</a:t>
            </a:r>
          </a:p>
          <a:p>
            <a:pPr lvl="1"/>
            <a:r>
              <a:rPr lang="de-CH" dirty="0" err="1"/>
              <a:t>Race</a:t>
            </a:r>
            <a:r>
              <a:rPr lang="de-CH" dirty="0"/>
              <a:t> </a:t>
            </a:r>
            <a:r>
              <a:rPr lang="de-CH" dirty="0" err="1"/>
              <a:t>Conditions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4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</p:spTree>
    <p:extLst>
      <p:ext uri="{BB962C8B-B14F-4D97-AF65-F5344CB8AC3E}">
        <p14:creationId xmlns:p14="http://schemas.microsoft.com/office/powerpoint/2010/main" val="2498360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satz im Betrieb</a:t>
            </a:r>
          </a:p>
        </p:txBody>
      </p:sp>
    </p:spTree>
    <p:extLst>
      <p:ext uri="{BB962C8B-B14F-4D97-AF65-F5344CB8AC3E}">
        <p14:creationId xmlns:p14="http://schemas.microsoft.com/office/powerpoint/2010/main" val="41060411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0300" y="1150978"/>
            <a:ext cx="8724188" cy="3474900"/>
          </a:xfrm>
        </p:spPr>
        <p:txBody>
          <a:bodyPr/>
          <a:lstStyle/>
          <a:p>
            <a:r>
              <a:rPr lang="de-CH" dirty="0"/>
              <a:t>IPA-Version unter </a:t>
            </a:r>
            <a:r>
              <a:rPr lang="de-CH" dirty="0">
                <a:hlinkClick r:id="rId3"/>
              </a:rPr>
              <a:t>https://hey-im-in.azurewebsites.net/</a:t>
            </a:r>
            <a:r>
              <a:rPr lang="de-CH" dirty="0"/>
              <a:t> erreichbar</a:t>
            </a:r>
          </a:p>
          <a:p>
            <a:r>
              <a:rPr lang="de-CH" dirty="0"/>
              <a:t>Badminton neu über «Hey, </a:t>
            </a:r>
            <a:r>
              <a:rPr lang="de-CH" dirty="0" err="1"/>
              <a:t>I’m</a:t>
            </a:r>
            <a:r>
              <a:rPr lang="de-CH" dirty="0"/>
              <a:t> in» organisiert</a:t>
            </a:r>
          </a:p>
          <a:p>
            <a:pPr lvl="1"/>
            <a:r>
              <a:rPr lang="de-CH" dirty="0"/>
              <a:t>Positives Feedback vom Auftraggeber Christoph </a:t>
            </a:r>
            <a:r>
              <a:rPr lang="de-CH" dirty="0" err="1"/>
              <a:t>Fauti</a:t>
            </a:r>
            <a:endParaRPr lang="de-CH" dirty="0"/>
          </a:p>
          <a:p>
            <a:pPr lvl="1"/>
            <a:r>
              <a:rPr lang="de-CH" dirty="0"/>
              <a:t>Kleine Änderungswünsche</a:t>
            </a:r>
          </a:p>
          <a:p>
            <a:pPr lvl="1"/>
            <a:r>
              <a:rPr lang="de-CH" dirty="0"/>
              <a:t>Dank Logs Fehler gefunden</a:t>
            </a:r>
          </a:p>
          <a:p>
            <a:r>
              <a:rPr lang="de-CH" dirty="0"/>
              <a:t>Zukünftige Weiterentwicklung und Verwendung</a:t>
            </a:r>
          </a:p>
          <a:p>
            <a:pPr lvl="1"/>
            <a:r>
              <a:rPr lang="de-CH" dirty="0" err="1"/>
              <a:t>Issues</a:t>
            </a:r>
            <a:r>
              <a:rPr lang="de-CH" dirty="0"/>
              <a:t> unter GitHub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6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estlauf mit positivem Feedback</a:t>
            </a:r>
          </a:p>
        </p:txBody>
      </p:sp>
    </p:spTree>
    <p:extLst>
      <p:ext uri="{BB962C8B-B14F-4D97-AF65-F5344CB8AC3E}">
        <p14:creationId xmlns:p14="http://schemas.microsoft.com/office/powerpoint/2010/main" val="25691591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779" y="1753069"/>
            <a:ext cx="4950000" cy="1656184"/>
          </a:xfrm>
        </p:spPr>
        <p:txBody>
          <a:bodyPr anchor="t"/>
          <a:lstStyle/>
          <a:p>
            <a:r>
              <a:rPr lang="de-DE" dirty="0"/>
              <a:t>Demo</a:t>
            </a:r>
            <a:br>
              <a:rPr lang="de-DE" dirty="0"/>
            </a:br>
            <a:br>
              <a:rPr lang="de-DE" sz="1200" dirty="0"/>
            </a:br>
            <a:r>
              <a:rPr lang="de-DE" sz="1200" b="0" dirty="0"/>
              <a:t>Für weitere Informationen kontaktieren Sie bitte:</a:t>
            </a:r>
            <a:br>
              <a:rPr lang="de-DE" sz="1200" b="0" dirty="0"/>
            </a:br>
            <a:r>
              <a:rPr lang="de-DE" sz="1200" b="0" dirty="0"/>
              <a:t>T+ 41 58 70 21435</a:t>
            </a:r>
            <a:br>
              <a:rPr lang="de-DE" sz="1200" b="0" dirty="0"/>
            </a:br>
            <a:r>
              <a:rPr lang="de-DE" sz="1200" b="0" dirty="0"/>
              <a:t>pascal.honegger.external@atos.ne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8203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 und Ablauf</a:t>
            </a:r>
          </a:p>
        </p:txBody>
      </p:sp>
    </p:spTree>
    <p:extLst>
      <p:ext uri="{BB962C8B-B14F-4D97-AF65-F5344CB8AC3E}">
        <p14:creationId xmlns:p14="http://schemas.microsoft.com/office/powerpoint/2010/main" val="2740828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Ausgangslage</a:t>
            </a:r>
          </a:p>
          <a:p>
            <a:pPr lvl="1"/>
            <a:r>
              <a:rPr lang="de-CH" dirty="0"/>
              <a:t>Christoph Fauti organisiert wiederkehrende Events</a:t>
            </a:r>
          </a:p>
          <a:p>
            <a:pPr lvl="1"/>
            <a:r>
              <a:rPr lang="de-CH" dirty="0"/>
              <a:t>15+ Jahre altes Tool</a:t>
            </a:r>
          </a:p>
          <a:p>
            <a:pPr lvl="1"/>
            <a:r>
              <a:rPr lang="de-CH" dirty="0"/>
              <a:t>Doodle Mangel an Komfortfunktionen</a:t>
            </a:r>
          </a:p>
          <a:p>
            <a:r>
              <a:rPr lang="de-CH" dirty="0"/>
              <a:t>Aufgabe</a:t>
            </a:r>
          </a:p>
          <a:p>
            <a:pPr lvl="1"/>
            <a:r>
              <a:rPr lang="de-CH" dirty="0"/>
              <a:t>«Hey, </a:t>
            </a:r>
            <a:r>
              <a:rPr lang="de-CH" dirty="0" err="1"/>
              <a:t>I’m</a:t>
            </a:r>
            <a:r>
              <a:rPr lang="de-CH" dirty="0"/>
              <a:t> in – Doodle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ecurring</a:t>
            </a:r>
            <a:r>
              <a:rPr lang="de-CH" dirty="0"/>
              <a:t> </a:t>
            </a:r>
            <a:r>
              <a:rPr lang="de-CH" dirty="0" err="1"/>
              <a:t>events</a:t>
            </a:r>
            <a:r>
              <a:rPr lang="de-CH" dirty="0"/>
              <a:t>»</a:t>
            </a:r>
          </a:p>
          <a:p>
            <a:pPr lvl="1"/>
            <a:r>
              <a:rPr lang="de-CH" dirty="0"/>
              <a:t>Responsive Design</a:t>
            </a:r>
          </a:p>
          <a:p>
            <a:pPr lvl="1"/>
            <a:r>
              <a:rPr lang="de-CH" dirty="0"/>
              <a:t>Mockups als Vorarbeit erstell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474424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D5C351E-13AC-4916-968A-421F3E7D1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5</a:t>
            </a:fld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A8D5349-00CF-4BD8-ADD9-97AC5CA37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ckup Startseite</a:t>
            </a:r>
          </a:p>
        </p:txBody>
      </p:sp>
      <p:pic>
        <p:nvPicPr>
          <p:cNvPr id="10" name="Inhaltsplatzhalter 9" descr="C:\Users\A610222\Source\Repos\HeyImIn\Dokumentation\Mockups\Events.PNG">
            <a:extLst>
              <a:ext uri="{FF2B5EF4-FFF2-40B4-BE49-F238E27FC236}">
                <a16:creationId xmlns:a16="http://schemas.microsoft.com/office/drawing/2014/main" id="{A34F0AAF-27FC-41F3-B6EE-55EEEDADCDF3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527" y="555526"/>
            <a:ext cx="3583921" cy="39588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7207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6488" y="843558"/>
            <a:ext cx="8748000" cy="3723613"/>
          </a:xfrm>
        </p:spPr>
        <p:txBody>
          <a:bodyPr/>
          <a:lstStyle/>
          <a:p>
            <a:r>
              <a:rPr lang="de-CH" dirty="0"/>
              <a:t>Projektmanagement nach IPERKA</a:t>
            </a:r>
          </a:p>
          <a:p>
            <a:r>
              <a:rPr lang="de-CH" dirty="0"/>
              <a:t>Zeitrahmen eingehalten</a:t>
            </a:r>
          </a:p>
          <a:p>
            <a:pPr lvl="1"/>
            <a:r>
              <a:rPr lang="de-CH" dirty="0"/>
              <a:t>Soll: 80 Stunden</a:t>
            </a:r>
          </a:p>
          <a:p>
            <a:pPr lvl="1"/>
            <a:r>
              <a:rPr lang="de-CH" dirty="0"/>
              <a:t>Ist: 80 Stunden</a:t>
            </a:r>
          </a:p>
          <a:p>
            <a:pPr lvl="1"/>
            <a:endParaRPr lang="de-CH" dirty="0"/>
          </a:p>
          <a:p>
            <a:pPr lvl="1"/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6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rojektablauf</a:t>
            </a: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D7870301-58CF-4FE5-B9D9-7037E145F8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941625"/>
              </p:ext>
            </p:extLst>
          </p:nvPr>
        </p:nvGraphicFramePr>
        <p:xfrm>
          <a:off x="241027" y="2139702"/>
          <a:ext cx="8723462" cy="23042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41948">
                  <a:extLst>
                    <a:ext uri="{9D8B030D-6E8A-4147-A177-3AD203B41FA5}">
                      <a16:colId xmlns:a16="http://schemas.microsoft.com/office/drawing/2014/main" val="822089038"/>
                    </a:ext>
                  </a:extLst>
                </a:gridCol>
                <a:gridCol w="1824929">
                  <a:extLst>
                    <a:ext uri="{9D8B030D-6E8A-4147-A177-3AD203B41FA5}">
                      <a16:colId xmlns:a16="http://schemas.microsoft.com/office/drawing/2014/main" val="3779850523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1592761539"/>
                    </a:ext>
                  </a:extLst>
                </a:gridCol>
                <a:gridCol w="3240361">
                  <a:extLst>
                    <a:ext uri="{9D8B030D-6E8A-4147-A177-3AD203B41FA5}">
                      <a16:colId xmlns:a16="http://schemas.microsoft.com/office/drawing/2014/main" val="3388809749"/>
                    </a:ext>
                  </a:extLst>
                </a:gridCol>
              </a:tblGrid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Meilenstein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Gesetzes Datum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Effektives Datum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9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bweichung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99529820"/>
                  </a:ext>
                </a:extLst>
              </a:tr>
              <a:tr h="20610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Projektbeginn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.03.2018 09: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.03.2018 09: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de-CH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59610354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Informieren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.03.2018 16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.03.2018 15: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de-CH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96793565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nen</a:t>
                      </a:r>
                      <a:endParaRPr lang="de-CH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8.03.2018 12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8.03.2018 12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de-CH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81111206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Entscheiden</a:t>
                      </a:r>
                      <a:endParaRPr lang="de-CH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8.03.2018 17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8.03.2018 16: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de-CH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59324925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atio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03.2018 12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03.2018 11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ne Stunde früher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46260045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ealisieren</a:t>
                      </a:r>
                      <a:endParaRPr lang="de-CH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03.2018 10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03.2018 09:3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de-CH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16921516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ontrollieren</a:t>
                      </a:r>
                      <a:endParaRPr lang="de-CH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03.2018 17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03.2018 15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wei Stunden früher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77648647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100" b="1">
                          <a:effectLst/>
                        </a:rPr>
                        <a:t>Auswerten</a:t>
                      </a:r>
                      <a:endParaRPr lang="de-CH" sz="105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03.2018 14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03.2018 11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ei Stunden früher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80554859"/>
                  </a:ext>
                </a:extLst>
              </a:tr>
              <a:tr h="2331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ktabschlus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03.2018 16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03.2018 15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CH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ne Stunde früher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257425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5461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formieren</a:t>
            </a:r>
          </a:p>
        </p:txBody>
      </p:sp>
    </p:spTree>
    <p:extLst>
      <p:ext uri="{BB962C8B-B14F-4D97-AF65-F5344CB8AC3E}">
        <p14:creationId xmlns:p14="http://schemas.microsoft.com/office/powerpoint/2010/main" val="1232940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0300" y="1150978"/>
            <a:ext cx="4374000" cy="3474900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Ist-Analyse</a:t>
            </a:r>
          </a:p>
          <a:p>
            <a:r>
              <a:rPr lang="de-CH" dirty="0"/>
              <a:t>Veraltete Software-Lösung</a:t>
            </a:r>
          </a:p>
          <a:p>
            <a:r>
              <a:rPr lang="de-CH" dirty="0"/>
              <a:t>Unnötiger Aufwand für Organisato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8</a:t>
            </a:fld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st- und Soll-Analyse</a:t>
            </a:r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4614300" y="1150978"/>
            <a:ext cx="4374000" cy="3474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7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Char char="▶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40000" indent="-270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1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08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dirty="0"/>
              <a:t>Soll-Analyse</a:t>
            </a:r>
          </a:p>
          <a:p>
            <a:r>
              <a:rPr lang="de-CH" dirty="0"/>
              <a:t>Organisieren von wiederkehrenden Events mit möglichst wenig Aufwand</a:t>
            </a:r>
          </a:p>
          <a:p>
            <a:r>
              <a:rPr lang="de-CH" dirty="0"/>
              <a:t>Notifikationen über E-Mail</a:t>
            </a:r>
          </a:p>
          <a:p>
            <a:r>
              <a:rPr lang="de-CH" dirty="0"/>
              <a:t>Gehostet auf Azure</a:t>
            </a:r>
          </a:p>
          <a:p>
            <a:pPr lvl="1"/>
            <a:r>
              <a:rPr lang="de-CH" dirty="0"/>
              <a:t>Einfaches Einspielen von Updates</a:t>
            </a:r>
          </a:p>
        </p:txBody>
      </p:sp>
    </p:spTree>
    <p:extLst>
      <p:ext uri="{BB962C8B-B14F-4D97-AF65-F5344CB8AC3E}">
        <p14:creationId xmlns:p14="http://schemas.microsoft.com/office/powerpoint/2010/main" val="1023041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lanen</a:t>
            </a:r>
          </a:p>
        </p:txBody>
      </p:sp>
    </p:spTree>
    <p:extLst>
      <p:ext uri="{BB962C8B-B14F-4D97-AF65-F5344CB8AC3E}">
        <p14:creationId xmlns:p14="http://schemas.microsoft.com/office/powerpoint/2010/main" val="3653139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os v4.0">
  <a:themeElements>
    <a:clrScheme name="Custom 1">
      <a:dk1>
        <a:sysClr val="windowText" lastClr="000000"/>
      </a:dk1>
      <a:lt1>
        <a:sysClr val="window" lastClr="FFFFFF"/>
      </a:lt1>
      <a:dk2>
        <a:srgbClr val="0066A1"/>
      </a:dk2>
      <a:lt2>
        <a:srgbClr val="FFFFFF"/>
      </a:lt2>
      <a:accent1>
        <a:srgbClr val="0066A1"/>
      </a:accent1>
      <a:accent2>
        <a:srgbClr val="0089C4"/>
      </a:accent2>
      <a:accent3>
        <a:srgbClr val="00AFD8"/>
      </a:accent3>
      <a:accent4>
        <a:srgbClr val="0066A1"/>
      </a:accent4>
      <a:accent5>
        <a:srgbClr val="0089C4"/>
      </a:accent5>
      <a:accent6>
        <a:srgbClr val="0066A1"/>
      </a:accent6>
      <a:hlink>
        <a:srgbClr val="0066A1"/>
      </a:hlink>
      <a:folHlink>
        <a:srgbClr val="00AFD8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Atos Primary Color Atos Blue">
      <a:srgbClr val="0066A1"/>
    </a:custClr>
    <a:custClr name="Atos Primary Color White">
      <a:srgbClr val="FFFFFF"/>
    </a:custClr>
    <a:custClr name="Atos Primary Color Grey">
      <a:srgbClr val="808080"/>
    </a:custClr>
    <a:custClr name="Atos Primary Color Black">
      <a:srgbClr val="000000"/>
    </a:custClr>
    <a:custClr name="Atos Secondary Color Orange">
      <a:srgbClr val="FA6119"/>
    </a:custClr>
    <a:custClr name="Atos Secondary Color Yellow">
      <a:srgbClr val="9E9500"/>
    </a:custClr>
    <a:custClr name="Atos Secondary Color Dark purple">
      <a:srgbClr val="6639B7"/>
    </a:custClr>
    <a:custClr name="Atos Secondary Color Light purple">
      <a:srgbClr val="A626AA"/>
    </a:custClr>
    <a:custClr name="Atos Secondary Color Teal">
      <a:srgbClr val="00A59C"/>
    </a:custClr>
    <a:custClr name="Atos Complementary Color Green">
      <a:srgbClr val="3F9C35"/>
    </a:custClr>
    <a:custClr name="Atos Complementary Color Pink">
      <a:srgbClr val="D71F85"/>
    </a:custClr>
    <a:custClr name="Atos Complementary Color Dark grey">
      <a:srgbClr val="898D8D"/>
    </a:custClr>
    <a:custClr name="Atos Complementary Color Light blue">
      <a:srgbClr val="00AFD8"/>
    </a:custClr>
    <a:custClr name="Atos Complementary Color Blue">
      <a:srgbClr val="0089C4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os v4.0</Template>
  <TotalTime>0</TotalTime>
  <Words>624</Words>
  <Application>Microsoft Office PowerPoint</Application>
  <PresentationFormat>Bildschirmpräsentation (16:9)</PresentationFormat>
  <Paragraphs>247</Paragraphs>
  <Slides>27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4" baseType="lpstr">
      <vt:lpstr>Arial</vt:lpstr>
      <vt:lpstr>Calibri</vt:lpstr>
      <vt:lpstr>Lucida Sans Unicode</vt:lpstr>
      <vt:lpstr>Times New Roman</vt:lpstr>
      <vt:lpstr>Verdana</vt:lpstr>
      <vt:lpstr>Atos v4.0</vt:lpstr>
      <vt:lpstr>think-cell Slide</vt:lpstr>
      <vt:lpstr>IPA Präsentation</vt:lpstr>
      <vt:lpstr>Zusammenfassung</vt:lpstr>
      <vt:lpstr>Aufgabenstellung und Ablauf</vt:lpstr>
      <vt:lpstr>Aufgabenstellung</vt:lpstr>
      <vt:lpstr>Mockup Startseite</vt:lpstr>
      <vt:lpstr>Projektablauf</vt:lpstr>
      <vt:lpstr>Informieren</vt:lpstr>
      <vt:lpstr>Ist- und Soll-Analyse</vt:lpstr>
      <vt:lpstr>Planen</vt:lpstr>
      <vt:lpstr>Use-Cases &amp; Testfälle</vt:lpstr>
      <vt:lpstr>Datenbank-Design</vt:lpstr>
      <vt:lpstr>Entscheiden</vt:lpstr>
      <vt:lpstr>Entscheidungen</vt:lpstr>
      <vt:lpstr>Realisieren</vt:lpstr>
      <vt:lpstr>Deployment</vt:lpstr>
      <vt:lpstr>Authentifizierung</vt:lpstr>
      <vt:lpstr>Logging</vt:lpstr>
      <vt:lpstr>Error Handling</vt:lpstr>
      <vt:lpstr>Backend-Schnittstelle</vt:lpstr>
      <vt:lpstr>Frontend Darstellung </vt:lpstr>
      <vt:lpstr>Kontrollieren</vt:lpstr>
      <vt:lpstr>Tests</vt:lpstr>
      <vt:lpstr>Auswerten</vt:lpstr>
      <vt:lpstr>Reflexion</vt:lpstr>
      <vt:lpstr>Einsatz im Betrieb</vt:lpstr>
      <vt:lpstr>Testlauf mit positivem Feedback</vt:lpstr>
      <vt:lpstr>Demo  Für weitere Informationen kontaktieren Sie bitte: T+ 41 58 70 21435 pascal.honegger.external@atos.net</vt:lpstr>
    </vt:vector>
  </TitlesOfParts>
  <Company>Ato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PA Präsentation</dc:title>
  <dc:creator>a610222</dc:creator>
  <cp:lastModifiedBy>Honegger, Pascal (ext)</cp:lastModifiedBy>
  <cp:revision>220</cp:revision>
  <cp:lastPrinted>2018-04-11T08:37:42Z</cp:lastPrinted>
  <dcterms:created xsi:type="dcterms:W3CDTF">2017-11-23T08:59:15Z</dcterms:created>
  <dcterms:modified xsi:type="dcterms:W3CDTF">2018-04-11T14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um">
    <vt:lpwstr>11.04.2018</vt:lpwstr>
  </property>
  <property fmtid="{D5CDD505-2E9C-101B-9397-08002B2CF9AE}" pid="3" name="Author">
    <vt:lpwstr>Pascal Honegger</vt:lpwstr>
  </property>
  <property fmtid="{D5CDD505-2E9C-101B-9397-08002B2CF9AE}" pid="4" name="GBU">
    <vt:lpwstr/>
  </property>
  <property fmtid="{D5CDD505-2E9C-101B-9397-08002B2CF9AE}" pid="5" name="Division">
    <vt:lpwstr/>
  </property>
  <property fmtid="{D5CDD505-2E9C-101B-9397-08002B2CF9AE}" pid="6" name="Department">
    <vt:lpwstr/>
  </property>
  <property fmtid="{D5CDD505-2E9C-101B-9397-08002B2CF9AE}" pid="7" name="Classification">
    <vt:lpwstr>© Atos</vt:lpwstr>
  </property>
  <property fmtid="{D5CDD505-2E9C-101B-9397-08002B2CF9AE}" pid="8" name="_AdHocReviewCycleID">
    <vt:i4>-2067759642</vt:i4>
  </property>
  <property fmtid="{D5CDD505-2E9C-101B-9397-08002B2CF9AE}" pid="9" name="_NewReviewCycle">
    <vt:lpwstr/>
  </property>
  <property fmtid="{D5CDD505-2E9C-101B-9397-08002B2CF9AE}" pid="10" name="_EmailSubject">
    <vt:lpwstr>IPA Präsi v4</vt:lpwstr>
  </property>
  <property fmtid="{D5CDD505-2E9C-101B-9397-08002B2CF9AE}" pid="11" name="_AuthorEmail">
    <vt:lpwstr>pascal.honegger.external@atos.net</vt:lpwstr>
  </property>
  <property fmtid="{D5CDD505-2E9C-101B-9397-08002B2CF9AE}" pid="12" name="_AuthorEmailDisplayName">
    <vt:lpwstr>Honegger, Pascal (ext)</vt:lpwstr>
  </property>
  <property fmtid="{D5CDD505-2E9C-101B-9397-08002B2CF9AE}" pid="13" name="_PreviousAdHocReviewCycleID">
    <vt:i4>-2067759642</vt:i4>
  </property>
</Properties>
</file>